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42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201C37-2BC5-4566-A60C-7CCD31A8E3BC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6DC1CC-C4C5-42B6-B2C6-468DC68BE2A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099845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29407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7499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6074966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525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39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510022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287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974899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 dirty="0">
                <a:sym typeface="Futura"/>
              </a:rPr>
              <a:t>{title}</a:t>
            </a:r>
            <a:endParaRPr lang="en-US" dirty="0"/>
          </a:p>
        </p:txBody>
      </p:sp>
      <p:sp>
        <p:nvSpPr>
          <p:cNvPr id="2" name="Rechteck 52">
            <a:extLst>
              <a:ext uri="{FF2B5EF4-FFF2-40B4-BE49-F238E27FC236}">
                <a16:creationId xmlns:a16="http://schemas.microsoft.com/office/drawing/2014/main" id="{FE2110A6-EDBD-8697-B5F7-4B336BB31161}"/>
              </a:ext>
            </a:extLst>
          </p:cNvPr>
          <p:cNvSpPr>
            <a:spLocks/>
          </p:cNvSpPr>
          <p:nvPr/>
        </p:nvSpPr>
        <p:spPr>
          <a:xfrm>
            <a:off x="407987" y="2400443"/>
            <a:ext cx="3563744" cy="158027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3" name="Rechteck 53">
            <a:extLst>
              <a:ext uri="{FF2B5EF4-FFF2-40B4-BE49-F238E27FC236}">
                <a16:creationId xmlns:a16="http://schemas.microsoft.com/office/drawing/2014/main" id="{A3D89242-83E7-0754-DC42-B6C7A9C3DB38}"/>
              </a:ext>
            </a:extLst>
          </p:cNvPr>
          <p:cNvSpPr>
            <a:spLocks/>
          </p:cNvSpPr>
          <p:nvPr/>
        </p:nvSpPr>
        <p:spPr>
          <a:xfrm>
            <a:off x="4332383" y="2400443"/>
            <a:ext cx="3563744" cy="158027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14" name="Rechteck 54">
            <a:extLst>
              <a:ext uri="{FF2B5EF4-FFF2-40B4-BE49-F238E27FC236}">
                <a16:creationId xmlns:a16="http://schemas.microsoft.com/office/drawing/2014/main" id="{3D6A41AE-49DF-B3A5-B25A-942FE82A13C1}"/>
              </a:ext>
            </a:extLst>
          </p:cNvPr>
          <p:cNvSpPr>
            <a:spLocks/>
          </p:cNvSpPr>
          <p:nvPr/>
        </p:nvSpPr>
        <p:spPr>
          <a:xfrm>
            <a:off x="8256780" y="2400443"/>
            <a:ext cx="3563744" cy="158027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F3F9DCEA-95C5-231D-DDE1-741629D3FFE7}"/>
              </a:ext>
            </a:extLst>
          </p:cNvPr>
          <p:cNvSpPr txBox="1">
            <a:spLocks/>
          </p:cNvSpPr>
          <p:nvPr/>
        </p:nvSpPr>
        <p:spPr bwMode="gray">
          <a:xfrm>
            <a:off x="407987" y="1557338"/>
            <a:ext cx="3563744" cy="58477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_description,max_token=20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25CA30A8-0C66-7407-9281-75593D32A00F}"/>
              </a:ext>
            </a:extLst>
          </p:cNvPr>
          <p:cNvSpPr txBox="1">
            <a:spLocks/>
          </p:cNvSpPr>
          <p:nvPr/>
        </p:nvSpPr>
        <p:spPr bwMode="gray">
          <a:xfrm>
            <a:off x="4332383" y="1557338"/>
            <a:ext cx="3563744" cy="58477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</a:rPr>
              <a:t>{bullet_2}</a:t>
            </a:r>
          </a:p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bullet_2_description,max_token=20}</a:t>
            </a:r>
            <a:endParaRPr lang="en-US" altLang="zh-CN" sz="1400" dirty="0">
              <a:solidFill>
                <a:srgbClr val="03522D"/>
              </a:solidFill>
            </a:endParaRP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C794AD5A-E2C7-9664-5953-647B01B04BE1}"/>
              </a:ext>
            </a:extLst>
          </p:cNvPr>
          <p:cNvSpPr txBox="1">
            <a:spLocks/>
          </p:cNvSpPr>
          <p:nvPr/>
        </p:nvSpPr>
        <p:spPr bwMode="gray">
          <a:xfrm>
            <a:off x="8256780" y="1557338"/>
            <a:ext cx="3563744" cy="58477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2400" dirty="0">
                <a:solidFill>
                  <a:srgbClr val="1A7449"/>
                </a:solidFill>
              </a:rPr>
              <a:t>{bullet_3}</a:t>
            </a:r>
          </a:p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bullet_3_description,max_token=20}</a:t>
            </a:r>
            <a:endParaRPr lang="en-US" altLang="zh-CN" sz="1400" dirty="0">
              <a:solidFill>
                <a:srgbClr val="03522D"/>
              </a:solidFill>
            </a:endParaRP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6634A095-ABD0-527D-E2B1-46D80EE1E49A}"/>
              </a:ext>
            </a:extLst>
          </p:cNvPr>
          <p:cNvSpPr txBox="1">
            <a:spLocks/>
          </p:cNvSpPr>
          <p:nvPr/>
        </p:nvSpPr>
        <p:spPr>
          <a:xfrm>
            <a:off x="407987" y="4239045"/>
            <a:ext cx="3563744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_content}</a:t>
            </a:r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AD8FE314-262A-C078-EDB0-5CA09AA3D723}"/>
              </a:ext>
            </a:extLst>
          </p:cNvPr>
          <p:cNvSpPr txBox="1">
            <a:spLocks/>
          </p:cNvSpPr>
          <p:nvPr/>
        </p:nvSpPr>
        <p:spPr>
          <a:xfrm>
            <a:off x="4332383" y="4239045"/>
            <a:ext cx="3563744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600"/>
              </a:spcBef>
              <a:buNone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2_content}</a:t>
            </a: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44AEC338-DA13-8B7F-9021-2039CE822D21}"/>
              </a:ext>
            </a:extLst>
          </p:cNvPr>
          <p:cNvSpPr txBox="1">
            <a:spLocks/>
          </p:cNvSpPr>
          <p:nvPr/>
        </p:nvSpPr>
        <p:spPr>
          <a:xfrm>
            <a:off x="8256780" y="4239045"/>
            <a:ext cx="3563744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600"/>
              </a:spcBef>
              <a:buNone/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bullet_3_content}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EA145157-CAF0-F6FA-42BB-2BD47146B4B6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13039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box, photo, photos, picture</a:t>
            </a:r>
          </a:p>
        </p:txBody>
      </p:sp>
    </p:spTree>
    <p:extLst>
      <p:ext uri="{BB962C8B-B14F-4D97-AF65-F5344CB8AC3E}">
        <p14:creationId xmlns:p14="http://schemas.microsoft.com/office/powerpoint/2010/main" val="41783071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90</Words>
  <Application>Microsoft Office PowerPoint</Application>
  <PresentationFormat>宽屏</PresentationFormat>
  <Paragraphs>14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9T01:51:20Z</dcterms:created>
  <dcterms:modified xsi:type="dcterms:W3CDTF">2025-09-09T01:52:40Z</dcterms:modified>
</cp:coreProperties>
</file>